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61" r:id="rId3"/>
    <p:sldId id="263" r:id="rId4"/>
    <p:sldId id="257" r:id="rId5"/>
    <p:sldId id="258" r:id="rId6"/>
    <p:sldId id="262" r:id="rId7"/>
    <p:sldId id="264" r:id="rId8"/>
    <p:sldId id="259" r:id="rId9"/>
    <p:sldId id="260" r:id="rId10"/>
  </p:sldIdLst>
  <p:sldSz cx="12192000" cy="6858000"/>
  <p:notesSz cx="9926638" cy="14352588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6374" autoAdjust="0"/>
  </p:normalViewPr>
  <p:slideViewPr>
    <p:cSldViewPr snapToGrid="0">
      <p:cViewPr varScale="1">
        <p:scale>
          <a:sx n="104" d="100"/>
          <a:sy n="104" d="100"/>
        </p:scale>
        <p:origin x="132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 err="1"/>
            <a:t>Where</a:t>
          </a:r>
          <a:r>
            <a:rPr lang="de-DE" dirty="0"/>
            <a:t> </a:t>
          </a:r>
          <a:r>
            <a:rPr lang="de-DE" dirty="0" err="1"/>
            <a:t>does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me</a:t>
          </a:r>
          <a:r>
            <a:rPr lang="de-DE" dirty="0"/>
            <a:t> </a:t>
          </a:r>
          <a:r>
            <a:rPr lang="de-DE" dirty="0" err="1"/>
            <a:t>from</a:t>
          </a:r>
          <a:r>
            <a:rPr lang="de-DE" dirty="0"/>
            <a:t>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26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26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26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26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26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26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26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7" presStyleCnt="26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8" presStyleCnt="26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9" presStyleCnt="26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0" presStyleCnt="26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1" presStyleCnt="26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12" presStyleCnt="26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13" presStyleCnt="26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14" presStyleCnt="26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15" presStyleCnt="26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6" presStyleCnt="26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7" presStyleCnt="26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8" presStyleCnt="26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9" presStyleCnt="26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20" presStyleCnt="26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21" presStyleCnt="26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22" presStyleCnt="26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23" presStyleCnt="26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24" presStyleCnt="26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25" presStyleCnt="26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endParaRPr lang="de-DE" dirty="0"/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C7EB33C6-BEA9-44B0-BDA6-EF89125DE973}">
      <dgm:prSet phldrT="[Text]"/>
      <dgm:spPr/>
      <dgm:t>
        <a:bodyPr/>
        <a:lstStyle/>
        <a:p>
          <a:r>
            <a:rPr lang="de-DE" dirty="0"/>
            <a:t>Tag</a:t>
          </a:r>
        </a:p>
      </dgm:t>
    </dgm:pt>
    <dgm:pt modelId="{A152A006-C515-42AF-A180-2BE14619D4C9}" type="parTrans" cxnId="{396F3F2C-5520-48E1-A827-2906C95AAB24}">
      <dgm:prSet/>
      <dgm:spPr/>
      <dgm:t>
        <a:bodyPr/>
        <a:lstStyle/>
        <a:p>
          <a:endParaRPr lang="de-DE"/>
        </a:p>
      </dgm:t>
    </dgm:pt>
    <dgm:pt modelId="{90AF9C36-4E05-4796-A600-C8913A864CBC}" type="sibTrans" cxnId="{396F3F2C-5520-48E1-A827-2906C95AAB24}">
      <dgm:prSet/>
      <dgm:spPr/>
      <dgm:t>
        <a:bodyPr/>
        <a:lstStyle/>
        <a:p>
          <a:endParaRPr lang="de-DE"/>
        </a:p>
      </dgm:t>
    </dgm:pt>
    <dgm:pt modelId="{FAE69FEC-A0B0-4AE1-8D29-CE14C8C95B02}">
      <dgm:prSet phldrT="[Text]"/>
      <dgm:spPr/>
      <dgm:t>
        <a:bodyPr/>
        <a:lstStyle/>
        <a:p>
          <a:r>
            <a:rPr lang="de-DE" dirty="0"/>
            <a:t>Reference</a:t>
          </a:r>
        </a:p>
      </dgm:t>
    </dgm:pt>
    <dgm:pt modelId="{00974F69-3416-4DB5-A607-6CD3F946F929}" type="parTrans" cxnId="{3E35D038-3E10-4E22-B30F-5F8ED5173454}">
      <dgm:prSet/>
      <dgm:spPr/>
      <dgm:t>
        <a:bodyPr/>
        <a:lstStyle/>
        <a:p>
          <a:endParaRPr lang="de-DE"/>
        </a:p>
      </dgm:t>
    </dgm:pt>
    <dgm:pt modelId="{BD57E40B-9433-490C-B5C5-AEA267A9A8DE}" type="sibTrans" cxnId="{3E35D038-3E10-4E22-B30F-5F8ED5173454}">
      <dgm:prSet/>
      <dgm:spPr/>
      <dgm:t>
        <a:bodyPr/>
        <a:lstStyle/>
        <a:p>
          <a:endParaRPr lang="de-DE"/>
        </a:p>
      </dgm:t>
    </dgm:pt>
    <dgm:pt modelId="{FFC73A0B-5188-4A04-BECC-44B45B4F0A43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DB33CE90-B6FD-4EBB-915A-C57DF9AE7215}" type="parTrans" cxnId="{6733DDA9-F4AA-4735-B21E-F2EE57DEEE56}">
      <dgm:prSet/>
      <dgm:spPr/>
      <dgm:t>
        <a:bodyPr/>
        <a:lstStyle/>
        <a:p>
          <a:endParaRPr lang="de-DE"/>
        </a:p>
      </dgm:t>
    </dgm:pt>
    <dgm:pt modelId="{69522777-3890-4EA0-8216-6F3E6FED2B82}" type="sibTrans" cxnId="{6733DDA9-F4AA-4735-B21E-F2EE57DEEE5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2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2"/>
      <dgm:spPr/>
    </dgm:pt>
    <dgm:pt modelId="{CADF14EF-3DC5-4B01-A196-115E3728D79A}" type="pres">
      <dgm:prSet presAssocID="{D72453B6-1B40-48C3-A2D3-C6000198E162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2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2"/>
      <dgm:spPr/>
    </dgm:pt>
    <dgm:pt modelId="{5E40462C-5609-4DDD-95F9-378D4B49C629}" type="pres">
      <dgm:prSet presAssocID="{63A93EE4-34D3-4D82-836B-6E5AA8FED95F}" presName="hierChild3" presStyleCnt="0"/>
      <dgm:spPr/>
    </dgm:pt>
    <dgm:pt modelId="{77247B8C-193F-484A-9C50-F6144B69E6D6}" type="pres">
      <dgm:prSet presAssocID="{A152A006-C515-42AF-A180-2BE14619D4C9}" presName="Name19" presStyleLbl="parChTrans1D3" presStyleIdx="0" presStyleCnt="2"/>
      <dgm:spPr/>
    </dgm:pt>
    <dgm:pt modelId="{94FAD579-B7B4-41A7-9B38-CA8C103A7DC4}" type="pres">
      <dgm:prSet presAssocID="{C7EB33C6-BEA9-44B0-BDA6-EF89125DE973}" presName="Name21" presStyleCnt="0"/>
      <dgm:spPr/>
    </dgm:pt>
    <dgm:pt modelId="{49D5B6DC-A7E8-4CF0-A361-8EB48FF52EE5}" type="pres">
      <dgm:prSet presAssocID="{C7EB33C6-BEA9-44B0-BDA6-EF89125DE973}" presName="level2Shape" presStyleLbl="node3" presStyleIdx="0" presStyleCnt="2"/>
      <dgm:spPr/>
    </dgm:pt>
    <dgm:pt modelId="{92ECBF28-129B-41C2-A74E-BFD3FBD1F976}" type="pres">
      <dgm:prSet presAssocID="{C7EB33C6-BEA9-44B0-BDA6-EF89125DE973}" presName="hierChild3" presStyleCnt="0"/>
      <dgm:spPr/>
    </dgm:pt>
    <dgm:pt modelId="{8BE9DD71-CFF1-44DC-9DA7-B0907FE20530}" type="pres">
      <dgm:prSet presAssocID="{00974F69-3416-4DB5-A607-6CD3F946F929}" presName="Name19" presStyleLbl="parChTrans1D4" presStyleIdx="0" presStyleCnt="6"/>
      <dgm:spPr/>
    </dgm:pt>
    <dgm:pt modelId="{757B9D6C-3D94-4ABD-AFE7-1FF1A9DB2773}" type="pres">
      <dgm:prSet presAssocID="{FAE69FEC-A0B0-4AE1-8D29-CE14C8C95B02}" presName="Name21" presStyleCnt="0"/>
      <dgm:spPr/>
    </dgm:pt>
    <dgm:pt modelId="{301333E1-22FF-4D9A-B494-BD3BDE501598}" type="pres">
      <dgm:prSet presAssocID="{FAE69FEC-A0B0-4AE1-8D29-CE14C8C95B02}" presName="level2Shape" presStyleLbl="node4" presStyleIdx="0" presStyleCnt="6"/>
      <dgm:spPr/>
    </dgm:pt>
    <dgm:pt modelId="{68E17586-C6C3-404C-9821-83D352119957}" type="pres">
      <dgm:prSet presAssocID="{FAE69FEC-A0B0-4AE1-8D29-CE14C8C95B02}" presName="hierChild3" presStyleCnt="0"/>
      <dgm:spPr/>
    </dgm:pt>
    <dgm:pt modelId="{4D1DCB21-D674-4BC0-9B75-E7E0FAFD2ED2}" type="pres">
      <dgm:prSet presAssocID="{DB33CE90-B6FD-4EBB-915A-C57DF9AE7215}" presName="Name19" presStyleLbl="parChTrans1D4" presStyleIdx="1" presStyleCnt="6"/>
      <dgm:spPr/>
    </dgm:pt>
    <dgm:pt modelId="{3594C6DB-AAE0-429E-83B5-C432C01C207D}" type="pres">
      <dgm:prSet presAssocID="{FFC73A0B-5188-4A04-BECC-44B45B4F0A43}" presName="Name21" presStyleCnt="0"/>
      <dgm:spPr/>
    </dgm:pt>
    <dgm:pt modelId="{14CE2F77-49F4-4DE3-8D51-CDAF84551E61}" type="pres">
      <dgm:prSet presAssocID="{FFC73A0B-5188-4A04-BECC-44B45B4F0A43}" presName="level2Shape" presStyleLbl="node4" presStyleIdx="1" presStyleCnt="6"/>
      <dgm:spPr/>
    </dgm:pt>
    <dgm:pt modelId="{2AE8C1BF-3E3D-431F-BA9D-ECAD984869D5}" type="pres">
      <dgm:prSet presAssocID="{FFC73A0B-5188-4A04-BECC-44B45B4F0A43}" presName="hierChild3" presStyleCnt="0"/>
      <dgm:spPr/>
    </dgm:pt>
    <dgm:pt modelId="{218FDDD4-1E68-4754-86AD-5CFD7F43C0C6}" type="pres">
      <dgm:prSet presAssocID="{36567181-7F90-4B9E-BE6F-7B941203BDDE}" presName="Name19" presStyleLbl="parChTrans1D3" presStyleIdx="1" presStyleCnt="2"/>
      <dgm:spPr/>
    </dgm:pt>
    <dgm:pt modelId="{18F9F06E-EE19-4721-8435-9E7C14A4F492}" type="pres">
      <dgm:prSet presAssocID="{809044A5-1B37-4FA2-9465-C6F903AED917}" presName="Name21" presStyleCnt="0"/>
      <dgm:spPr/>
    </dgm:pt>
    <dgm:pt modelId="{4311A214-8010-41A8-A2AC-1F575E448A95}" type="pres">
      <dgm:prSet presAssocID="{809044A5-1B37-4FA2-9465-C6F903AED917}" presName="level2Shape" presStyleLbl="node3" presStyleIdx="1" presStyleCnt="2"/>
      <dgm:spPr/>
    </dgm:pt>
    <dgm:pt modelId="{1ED6B6AF-7577-4C84-8D29-807AA7844ACA}" type="pres">
      <dgm:prSet presAssocID="{809044A5-1B37-4FA2-9465-C6F903AED917}" presName="hierChild3" presStyleCnt="0"/>
      <dgm:spPr/>
    </dgm:pt>
    <dgm:pt modelId="{FEC44A9A-21C9-4606-8051-78C812299206}" type="pres">
      <dgm:prSet presAssocID="{89D72D49-719C-4938-BA25-54D992A69F2F}" presName="Name19" presStyleLbl="parChTrans1D4" presStyleIdx="2" presStyleCnt="6"/>
      <dgm:spPr/>
    </dgm:pt>
    <dgm:pt modelId="{11BB9D16-A8B3-43E8-92CB-2C526AFA5114}" type="pres">
      <dgm:prSet presAssocID="{8CE0378C-5BFC-4F18-901E-A6F28F08A7B7}" presName="Name21" presStyleCnt="0"/>
      <dgm:spPr/>
    </dgm:pt>
    <dgm:pt modelId="{1550904D-9E76-4B81-B1F5-A9E14E2B453C}" type="pres">
      <dgm:prSet presAssocID="{8CE0378C-5BFC-4F18-901E-A6F28F08A7B7}" presName="level2Shape" presStyleLbl="node4" presStyleIdx="2" presStyleCnt="6"/>
      <dgm:spPr/>
    </dgm:pt>
    <dgm:pt modelId="{46871212-9B8D-4FBB-80FA-8AC0F5B45061}" type="pres">
      <dgm:prSet presAssocID="{8CE0378C-5BFC-4F18-901E-A6F28F08A7B7}" presName="hierChild3" presStyleCnt="0"/>
      <dgm:spPr/>
    </dgm:pt>
    <dgm:pt modelId="{6F91ACC4-26DE-449A-AFEC-5682DA880D48}" type="pres">
      <dgm:prSet presAssocID="{4E3A8912-5672-4AFC-99D2-1CD4BC3C55B7}" presName="Name19" presStyleLbl="parChTrans1D4" presStyleIdx="3" presStyleCnt="6"/>
      <dgm:spPr/>
    </dgm:pt>
    <dgm:pt modelId="{47ACA756-3EFE-4BEC-81BD-5FA7FD4661A6}" type="pres">
      <dgm:prSet presAssocID="{F9E1A341-00B1-48B5-8E7E-21C4DA617546}" presName="Name21" presStyleCnt="0"/>
      <dgm:spPr/>
    </dgm:pt>
    <dgm:pt modelId="{144127C2-2487-4A15-8713-339DCE036467}" type="pres">
      <dgm:prSet presAssocID="{F9E1A341-00B1-48B5-8E7E-21C4DA617546}" presName="level2Shape" presStyleLbl="node4" presStyleIdx="3" presStyleCnt="6"/>
      <dgm:spPr/>
    </dgm:pt>
    <dgm:pt modelId="{1E5A2432-A484-4C8A-A977-0A6A72162246}" type="pres">
      <dgm:prSet presAssocID="{F9E1A341-00B1-48B5-8E7E-21C4DA617546}" presName="hierChild3" presStyleCnt="0"/>
      <dgm:spPr/>
    </dgm:pt>
    <dgm:pt modelId="{563A516D-AEF8-4506-9C6E-50A5505BE890}" type="pres">
      <dgm:prSet presAssocID="{915143CF-6875-4889-A996-41FB2FBF8B05}" presName="Name19" presStyleLbl="parChTrans1D4" presStyleIdx="4" presStyleCnt="6"/>
      <dgm:spPr/>
    </dgm:pt>
    <dgm:pt modelId="{B441A33B-3FF3-48D7-8E18-CD0FBDB46AE5}" type="pres">
      <dgm:prSet presAssocID="{AD4CA1C2-AA35-4EA0-813C-8A9E26596336}" presName="Name21" presStyleCnt="0"/>
      <dgm:spPr/>
    </dgm:pt>
    <dgm:pt modelId="{ABD5F001-92E7-4072-85AC-07E59887CB15}" type="pres">
      <dgm:prSet presAssocID="{AD4CA1C2-AA35-4EA0-813C-8A9E26596336}" presName="level2Shape" presStyleLbl="node4" presStyleIdx="4" presStyleCnt="6"/>
      <dgm:spPr/>
    </dgm:pt>
    <dgm:pt modelId="{CD349B4C-DB9F-44C5-A18B-81FAD0C27737}" type="pres">
      <dgm:prSet presAssocID="{AD4CA1C2-AA35-4EA0-813C-8A9E26596336}" presName="hierChild3" presStyleCnt="0"/>
      <dgm:spPr/>
    </dgm:pt>
    <dgm:pt modelId="{2B52B1C9-E455-4241-9CB1-5CD51BB25F65}" type="pres">
      <dgm:prSet presAssocID="{F926763A-9361-4F50-A257-16C2B4C2A5EF}" presName="Name19" presStyleLbl="parChTrans1D4" presStyleIdx="5" presStyleCnt="6"/>
      <dgm:spPr/>
    </dgm:pt>
    <dgm:pt modelId="{C55250D8-FA36-4455-B54B-8125B9E92C49}" type="pres">
      <dgm:prSet presAssocID="{2A4A8B3B-C540-409D-AD83-DE0DB893B79E}" presName="Name21" presStyleCnt="0"/>
      <dgm:spPr/>
    </dgm:pt>
    <dgm:pt modelId="{F760E44B-F2B7-42C8-892D-C15058943036}" type="pres">
      <dgm:prSet presAssocID="{2A4A8B3B-C540-409D-AD83-DE0DB893B79E}" presName="level2Shape" presStyleLbl="node4" presStyleIdx="5" presStyleCnt="6"/>
      <dgm:spPr/>
    </dgm:pt>
    <dgm:pt modelId="{667BB839-46EB-4EDF-9B3B-367CF472CEE4}" type="pres">
      <dgm:prSet presAssocID="{2A4A8B3B-C540-409D-AD83-DE0DB893B79E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6A3D1A0D-9FBE-4DB6-9166-4C67F4C6E5C3}" type="presOf" srcId="{A152A006-C515-42AF-A180-2BE14619D4C9}" destId="{77247B8C-193F-484A-9C50-F6144B69E6D6}" srcOrd="0" destOrd="0" presId="urn:microsoft.com/office/officeart/2005/8/layout/hierarchy6"/>
    <dgm:cxn modelId="{827BF80F-2003-455A-86B4-EA7953A4E169}" type="presOf" srcId="{2A4A8B3B-C540-409D-AD83-DE0DB893B79E}" destId="{F760E44B-F2B7-42C8-892D-C15058943036}" srcOrd="0" destOrd="0" presId="urn:microsoft.com/office/officeart/2005/8/layout/hierarchy6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61D75815-9175-437F-A676-3CBDA5B7B98C}" type="presOf" srcId="{8CE0378C-5BFC-4F18-901E-A6F28F08A7B7}" destId="{1550904D-9E76-4B81-B1F5-A9E14E2B453C}" srcOrd="0" destOrd="0" presId="urn:microsoft.com/office/officeart/2005/8/layout/hierarchy6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52447823-C4A3-4257-9A10-3ABA799AA497}" type="presOf" srcId="{C7EB33C6-BEA9-44B0-BDA6-EF89125DE973}" destId="{49D5B6DC-A7E8-4CF0-A361-8EB48FF52EE5}" srcOrd="0" destOrd="0" presId="urn:microsoft.com/office/officeart/2005/8/layout/hierarchy6"/>
    <dgm:cxn modelId="{396F3F2C-5520-48E1-A827-2906C95AAB24}" srcId="{63A93EE4-34D3-4D82-836B-6E5AA8FED95F}" destId="{C7EB33C6-BEA9-44B0-BDA6-EF89125DE973}" srcOrd="0" destOrd="0" parTransId="{A152A006-C515-42AF-A180-2BE14619D4C9}" sibTransId="{90AF9C36-4E05-4796-A600-C8913A864CBC}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EDC40835-BCE0-4FC5-B428-5022FCD38255}" type="presOf" srcId="{36567181-7F90-4B9E-BE6F-7B941203BDDE}" destId="{218FDDD4-1E68-4754-86AD-5CFD7F43C0C6}" srcOrd="0" destOrd="0" presId="urn:microsoft.com/office/officeart/2005/8/layout/hierarchy6"/>
    <dgm:cxn modelId="{19CFA636-F9CC-4324-AEF4-10D9D051CC1C}" type="presOf" srcId="{4E3A8912-5672-4AFC-99D2-1CD4BC3C55B7}" destId="{6F91ACC4-26DE-449A-AFEC-5682DA880D48}" srcOrd="0" destOrd="0" presId="urn:microsoft.com/office/officeart/2005/8/layout/hierarchy6"/>
    <dgm:cxn modelId="{20676A38-3702-460F-AE99-0C1306733D9B}" type="presOf" srcId="{FFC73A0B-5188-4A04-BECC-44B45B4F0A43}" destId="{14CE2F77-49F4-4DE3-8D51-CDAF84551E61}" srcOrd="0" destOrd="0" presId="urn:microsoft.com/office/officeart/2005/8/layout/hierarchy6"/>
    <dgm:cxn modelId="{3E35D038-3E10-4E22-B30F-5F8ED5173454}" srcId="{C7EB33C6-BEA9-44B0-BDA6-EF89125DE973}" destId="{FAE69FEC-A0B0-4AE1-8D29-CE14C8C95B02}" srcOrd="0" destOrd="0" parTransId="{00974F69-3416-4DB5-A607-6CD3F946F929}" sibTransId="{BD57E40B-9433-490C-B5C5-AEA267A9A8DE}"/>
    <dgm:cxn modelId="{61136741-EB10-4979-8568-BD0A566FFF06}" type="presOf" srcId="{89D72D49-719C-4938-BA25-54D992A69F2F}" destId="{FEC44A9A-21C9-4606-8051-78C812299206}" srcOrd="0" destOrd="0" presId="urn:microsoft.com/office/officeart/2005/8/layout/hierarchy6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250D8C86-6EA5-40CF-8CD9-94D263E72E1F}" type="presOf" srcId="{915143CF-6875-4889-A996-41FB2FBF8B05}" destId="{563A516D-AEF8-4506-9C6E-50A5505BE890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95474D96-B937-41CD-B234-37584DAE41E2}" type="presOf" srcId="{FAE69FEC-A0B0-4AE1-8D29-CE14C8C95B02}" destId="{301333E1-22FF-4D9A-B494-BD3BDE501598}" srcOrd="0" destOrd="0" presId="urn:microsoft.com/office/officeart/2005/8/layout/hierarchy6"/>
    <dgm:cxn modelId="{943287A7-37BD-41F6-850C-50EEEBC2653B}" type="presOf" srcId="{DB33CE90-B6FD-4EBB-915A-C57DF9AE7215}" destId="{4D1DCB21-D674-4BC0-9B75-E7E0FAFD2ED2}" srcOrd="0" destOrd="0" presId="urn:microsoft.com/office/officeart/2005/8/layout/hierarchy6"/>
    <dgm:cxn modelId="{6733DDA9-F4AA-4735-B21E-F2EE57DEEE56}" srcId="{C7EB33C6-BEA9-44B0-BDA6-EF89125DE973}" destId="{FFC73A0B-5188-4A04-BECC-44B45B4F0A43}" srcOrd="1" destOrd="0" parTransId="{DB33CE90-B6FD-4EBB-915A-C57DF9AE7215}" sibTransId="{69522777-3890-4EA0-8216-6F3E6FED2B82}"/>
    <dgm:cxn modelId="{A0A8BEB1-99A7-4140-85E8-C7C8AEA97E81}" type="presOf" srcId="{AD4CA1C2-AA35-4EA0-813C-8A9E26596336}" destId="{ABD5F001-92E7-4072-85AC-07E59887CB15}" srcOrd="0" destOrd="0" presId="urn:microsoft.com/office/officeart/2005/8/layout/hierarchy6"/>
    <dgm:cxn modelId="{1666DCB1-9A0D-4F76-B719-2BAD88B5608C}" type="presOf" srcId="{F926763A-9361-4F50-A257-16C2B4C2A5EF}" destId="{2B52B1C9-E455-4241-9CB1-5CD51BB25F65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EB6885C8-2837-4397-8FE7-A82222AF5AA6}" type="presOf" srcId="{809044A5-1B37-4FA2-9465-C6F903AED917}" destId="{4311A214-8010-41A8-A2AC-1F575E448A95}" srcOrd="0" destOrd="0" presId="urn:microsoft.com/office/officeart/2005/8/layout/hierarchy6"/>
    <dgm:cxn modelId="{F1FB70E8-E805-460F-BE59-9103C868421F}" type="presOf" srcId="{00974F69-3416-4DB5-A607-6CD3F946F929}" destId="{8BE9DD71-CFF1-44DC-9DA7-B0907FE20530}" srcOrd="0" destOrd="0" presId="urn:microsoft.com/office/officeart/2005/8/layout/hierarchy6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AAF2B7EF-36AC-48B7-81AF-6C6F74F35F3C}" type="presOf" srcId="{F9E1A341-00B1-48B5-8E7E-21C4DA617546}" destId="{144127C2-2487-4A15-8713-339DCE036467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D67594C3-D464-4C18-A94E-0CEA9332A86B}" type="presParOf" srcId="{5E40462C-5609-4DDD-95F9-378D4B49C629}" destId="{77247B8C-193F-484A-9C50-F6144B69E6D6}" srcOrd="0" destOrd="0" presId="urn:microsoft.com/office/officeart/2005/8/layout/hierarchy6"/>
    <dgm:cxn modelId="{EAC41CDF-2531-4B0E-8CF5-A81FD5316901}" type="presParOf" srcId="{5E40462C-5609-4DDD-95F9-378D4B49C629}" destId="{94FAD579-B7B4-41A7-9B38-CA8C103A7DC4}" srcOrd="1" destOrd="0" presId="urn:microsoft.com/office/officeart/2005/8/layout/hierarchy6"/>
    <dgm:cxn modelId="{24627062-2F99-4740-A654-00783126B36F}" type="presParOf" srcId="{94FAD579-B7B4-41A7-9B38-CA8C103A7DC4}" destId="{49D5B6DC-A7E8-4CF0-A361-8EB48FF52EE5}" srcOrd="0" destOrd="0" presId="urn:microsoft.com/office/officeart/2005/8/layout/hierarchy6"/>
    <dgm:cxn modelId="{6FAA5FF6-1041-4247-820E-879515F2115D}" type="presParOf" srcId="{94FAD579-B7B4-41A7-9B38-CA8C103A7DC4}" destId="{92ECBF28-129B-41C2-A74E-BFD3FBD1F976}" srcOrd="1" destOrd="0" presId="urn:microsoft.com/office/officeart/2005/8/layout/hierarchy6"/>
    <dgm:cxn modelId="{83D92773-78EB-4F06-8539-C4BD52BF09D3}" type="presParOf" srcId="{92ECBF28-129B-41C2-A74E-BFD3FBD1F976}" destId="{8BE9DD71-CFF1-44DC-9DA7-B0907FE20530}" srcOrd="0" destOrd="0" presId="urn:microsoft.com/office/officeart/2005/8/layout/hierarchy6"/>
    <dgm:cxn modelId="{E9CC1806-8E73-470F-A92D-81DD791F80F2}" type="presParOf" srcId="{92ECBF28-129B-41C2-A74E-BFD3FBD1F976}" destId="{757B9D6C-3D94-4ABD-AFE7-1FF1A9DB2773}" srcOrd="1" destOrd="0" presId="urn:microsoft.com/office/officeart/2005/8/layout/hierarchy6"/>
    <dgm:cxn modelId="{69977573-927A-4278-AAE4-BB8CC559CAA9}" type="presParOf" srcId="{757B9D6C-3D94-4ABD-AFE7-1FF1A9DB2773}" destId="{301333E1-22FF-4D9A-B494-BD3BDE501598}" srcOrd="0" destOrd="0" presId="urn:microsoft.com/office/officeart/2005/8/layout/hierarchy6"/>
    <dgm:cxn modelId="{DC991474-AB43-4AD0-9D4A-3CDB63BA088F}" type="presParOf" srcId="{757B9D6C-3D94-4ABD-AFE7-1FF1A9DB2773}" destId="{68E17586-C6C3-404C-9821-83D352119957}" srcOrd="1" destOrd="0" presId="urn:microsoft.com/office/officeart/2005/8/layout/hierarchy6"/>
    <dgm:cxn modelId="{43F58E36-0DD1-4955-882A-314D66632FD9}" type="presParOf" srcId="{92ECBF28-129B-41C2-A74E-BFD3FBD1F976}" destId="{4D1DCB21-D674-4BC0-9B75-E7E0FAFD2ED2}" srcOrd="2" destOrd="0" presId="urn:microsoft.com/office/officeart/2005/8/layout/hierarchy6"/>
    <dgm:cxn modelId="{326F1E75-286B-403C-82AC-F68BC40791ED}" type="presParOf" srcId="{92ECBF28-129B-41C2-A74E-BFD3FBD1F976}" destId="{3594C6DB-AAE0-429E-83B5-C432C01C207D}" srcOrd="3" destOrd="0" presId="urn:microsoft.com/office/officeart/2005/8/layout/hierarchy6"/>
    <dgm:cxn modelId="{9DA07BB2-5293-4555-8E01-96B57E75FB31}" type="presParOf" srcId="{3594C6DB-AAE0-429E-83B5-C432C01C207D}" destId="{14CE2F77-49F4-4DE3-8D51-CDAF84551E61}" srcOrd="0" destOrd="0" presId="urn:microsoft.com/office/officeart/2005/8/layout/hierarchy6"/>
    <dgm:cxn modelId="{BF785B75-AFCF-4C5D-905A-94662329F871}" type="presParOf" srcId="{3594C6DB-AAE0-429E-83B5-C432C01C207D}" destId="{2AE8C1BF-3E3D-431F-BA9D-ECAD984869D5}" srcOrd="1" destOrd="0" presId="urn:microsoft.com/office/officeart/2005/8/layout/hierarchy6"/>
    <dgm:cxn modelId="{931F8F1A-139B-4F91-A457-731030B83CB7}" type="presParOf" srcId="{5E40462C-5609-4DDD-95F9-378D4B49C629}" destId="{218FDDD4-1E68-4754-86AD-5CFD7F43C0C6}" srcOrd="2" destOrd="0" presId="urn:microsoft.com/office/officeart/2005/8/layout/hierarchy6"/>
    <dgm:cxn modelId="{C560E141-73A2-4447-B567-5F8D2520396C}" type="presParOf" srcId="{5E40462C-5609-4DDD-95F9-378D4B49C629}" destId="{18F9F06E-EE19-4721-8435-9E7C14A4F492}" srcOrd="3" destOrd="0" presId="urn:microsoft.com/office/officeart/2005/8/layout/hierarchy6"/>
    <dgm:cxn modelId="{8149B1A5-12FF-4F2E-9BCE-731F6133AE7E}" type="presParOf" srcId="{18F9F06E-EE19-4721-8435-9E7C14A4F492}" destId="{4311A214-8010-41A8-A2AC-1F575E448A95}" srcOrd="0" destOrd="0" presId="urn:microsoft.com/office/officeart/2005/8/layout/hierarchy6"/>
    <dgm:cxn modelId="{D85B26B2-AEEC-4E4B-8D5E-3828A901247E}" type="presParOf" srcId="{18F9F06E-EE19-4721-8435-9E7C14A4F492}" destId="{1ED6B6AF-7577-4C84-8D29-807AA7844ACA}" srcOrd="1" destOrd="0" presId="urn:microsoft.com/office/officeart/2005/8/layout/hierarchy6"/>
    <dgm:cxn modelId="{7B11BF9B-43C6-4E17-A150-6BE5DD782A45}" type="presParOf" srcId="{1ED6B6AF-7577-4C84-8D29-807AA7844ACA}" destId="{FEC44A9A-21C9-4606-8051-78C812299206}" srcOrd="0" destOrd="0" presId="urn:microsoft.com/office/officeart/2005/8/layout/hierarchy6"/>
    <dgm:cxn modelId="{1BFAF2C8-7C83-4CD6-A039-562424A928C2}" type="presParOf" srcId="{1ED6B6AF-7577-4C84-8D29-807AA7844ACA}" destId="{11BB9D16-A8B3-43E8-92CB-2C526AFA5114}" srcOrd="1" destOrd="0" presId="urn:microsoft.com/office/officeart/2005/8/layout/hierarchy6"/>
    <dgm:cxn modelId="{85CD2877-E99A-4B90-BCFF-5B609906E1A7}" type="presParOf" srcId="{11BB9D16-A8B3-43E8-92CB-2C526AFA5114}" destId="{1550904D-9E76-4B81-B1F5-A9E14E2B453C}" srcOrd="0" destOrd="0" presId="urn:microsoft.com/office/officeart/2005/8/layout/hierarchy6"/>
    <dgm:cxn modelId="{B97540B8-5486-4135-A402-2CDE45B65E07}" type="presParOf" srcId="{11BB9D16-A8B3-43E8-92CB-2C526AFA5114}" destId="{46871212-9B8D-4FBB-80FA-8AC0F5B45061}" srcOrd="1" destOrd="0" presId="urn:microsoft.com/office/officeart/2005/8/layout/hierarchy6"/>
    <dgm:cxn modelId="{465D82DC-375F-40AB-AAEF-1FB667033E6B}" type="presParOf" srcId="{1ED6B6AF-7577-4C84-8D29-807AA7844ACA}" destId="{6F91ACC4-26DE-449A-AFEC-5682DA880D48}" srcOrd="2" destOrd="0" presId="urn:microsoft.com/office/officeart/2005/8/layout/hierarchy6"/>
    <dgm:cxn modelId="{2E51A7D9-A700-451E-A30F-ED3FF547F217}" type="presParOf" srcId="{1ED6B6AF-7577-4C84-8D29-807AA7844ACA}" destId="{47ACA756-3EFE-4BEC-81BD-5FA7FD4661A6}" srcOrd="3" destOrd="0" presId="urn:microsoft.com/office/officeart/2005/8/layout/hierarchy6"/>
    <dgm:cxn modelId="{980CE673-877F-43C7-9CF7-7C0D5DFBB591}" type="presParOf" srcId="{47ACA756-3EFE-4BEC-81BD-5FA7FD4661A6}" destId="{144127C2-2487-4A15-8713-339DCE036467}" srcOrd="0" destOrd="0" presId="urn:microsoft.com/office/officeart/2005/8/layout/hierarchy6"/>
    <dgm:cxn modelId="{72D716F2-0464-4E02-97BF-AB8030CC95B4}" type="presParOf" srcId="{47ACA756-3EFE-4BEC-81BD-5FA7FD4661A6}" destId="{1E5A2432-A484-4C8A-A977-0A6A72162246}" srcOrd="1" destOrd="0" presId="urn:microsoft.com/office/officeart/2005/8/layout/hierarchy6"/>
    <dgm:cxn modelId="{F424D339-8068-4B17-9E13-25B71204E147}" type="presParOf" srcId="{1E5A2432-A484-4C8A-A977-0A6A72162246}" destId="{563A516D-AEF8-4506-9C6E-50A5505BE890}" srcOrd="0" destOrd="0" presId="urn:microsoft.com/office/officeart/2005/8/layout/hierarchy6"/>
    <dgm:cxn modelId="{79337818-3B0F-44A5-8ADC-109FAF16E62B}" type="presParOf" srcId="{1E5A2432-A484-4C8A-A977-0A6A72162246}" destId="{B441A33B-3FF3-48D7-8E18-CD0FBDB46AE5}" srcOrd="1" destOrd="0" presId="urn:microsoft.com/office/officeart/2005/8/layout/hierarchy6"/>
    <dgm:cxn modelId="{A2F8E885-6C5C-49F1-96EF-BC5757A6D379}" type="presParOf" srcId="{B441A33B-3FF3-48D7-8E18-CD0FBDB46AE5}" destId="{ABD5F001-92E7-4072-85AC-07E59887CB15}" srcOrd="0" destOrd="0" presId="urn:microsoft.com/office/officeart/2005/8/layout/hierarchy6"/>
    <dgm:cxn modelId="{7DFF5625-48C1-44CA-AD28-269A13EC97A3}" type="presParOf" srcId="{B441A33B-3FF3-48D7-8E18-CD0FBDB46AE5}" destId="{CD349B4C-DB9F-44C5-A18B-81FAD0C27737}" srcOrd="1" destOrd="0" presId="urn:microsoft.com/office/officeart/2005/8/layout/hierarchy6"/>
    <dgm:cxn modelId="{6024D0CA-7E7B-4679-9576-055D92874D85}" type="presParOf" srcId="{1E5A2432-A484-4C8A-A977-0A6A72162246}" destId="{2B52B1C9-E455-4241-9CB1-5CD51BB25F65}" srcOrd="2" destOrd="0" presId="urn:microsoft.com/office/officeart/2005/8/layout/hierarchy6"/>
    <dgm:cxn modelId="{A89E72BC-A375-4B65-93D8-204A0148F39D}" type="presParOf" srcId="{1E5A2432-A484-4C8A-A977-0A6A72162246}" destId="{C55250D8-FA36-4455-B54B-8125B9E92C49}" srcOrd="3" destOrd="0" presId="urn:microsoft.com/office/officeart/2005/8/layout/hierarchy6"/>
    <dgm:cxn modelId="{1CF607D1-2E14-4F12-B8BE-E239BFEB8624}" type="presParOf" srcId="{C55250D8-FA36-4455-B54B-8125B9E92C49}" destId="{F760E44B-F2B7-42C8-892D-C15058943036}" srcOrd="0" destOrd="0" presId="urn:microsoft.com/office/officeart/2005/8/layout/hierarchy6"/>
    <dgm:cxn modelId="{EC2348A5-A359-419E-8882-7C18F48587EE}" type="presParOf" srcId="{C55250D8-FA36-4455-B54B-8125B9E92C49}" destId="{667BB839-46EB-4EDF-9B3B-367CF472CEE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AB408634-0CD4-418B-9B48-9AAC90E1180B}">
      <dsp:nvSpPr>
        <dsp:cNvPr id="0" name=""/>
        <dsp:cNvSpPr/>
      </dsp:nvSpPr>
      <dsp:spPr>
        <a:xfrm>
          <a:off x="2394856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2664195" y="56652"/>
        <a:ext cx="808017" cy="538678"/>
      </dsp:txXfrm>
    </dsp:sp>
    <dsp:sp modelId="{B799F94F-6E46-4AFE-8722-BF49A0D459B0}">
      <dsp:nvSpPr>
        <dsp:cNvPr id="0" name=""/>
        <dsp:cNvSpPr/>
      </dsp:nvSpPr>
      <dsp:spPr>
        <a:xfrm>
          <a:off x="3553013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y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3822352" y="56652"/>
        <a:ext cx="808017" cy="538678"/>
      </dsp:txXfrm>
    </dsp:sp>
    <dsp:sp modelId="{033985E6-5141-4244-8446-F5E7A99A21F5}">
      <dsp:nvSpPr>
        <dsp:cNvPr id="0" name=""/>
        <dsp:cNvSpPr/>
      </dsp:nvSpPr>
      <dsp:spPr>
        <a:xfrm>
          <a:off x="4711171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ere</a:t>
          </a:r>
          <a:r>
            <a:rPr lang="de-DE" sz="700" kern="1200" dirty="0"/>
            <a:t> </a:t>
          </a:r>
          <a:r>
            <a:rPr lang="de-DE" sz="700" kern="1200" dirty="0" err="1"/>
            <a:t>does</a:t>
          </a:r>
          <a:r>
            <a:rPr lang="de-DE" sz="700" kern="1200" dirty="0"/>
            <a:t>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data</a:t>
          </a:r>
          <a:r>
            <a:rPr lang="de-DE" sz="700" kern="1200" dirty="0"/>
            <a:t> </a:t>
          </a:r>
          <a:r>
            <a:rPr lang="de-DE" sz="700" kern="1200" dirty="0" err="1"/>
            <a:t>come</a:t>
          </a:r>
          <a:r>
            <a:rPr lang="de-DE" sz="700" kern="1200" dirty="0"/>
            <a:t> </a:t>
          </a:r>
          <a:r>
            <a:rPr lang="de-DE" sz="700" kern="1200" dirty="0" err="1"/>
            <a:t>from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4980510" y="56652"/>
        <a:ext cx="808017" cy="538678"/>
      </dsp:txXfrm>
    </dsp:sp>
    <dsp:sp modelId="{97363E8B-2CC9-40F8-81D2-82C1783BFD27}">
      <dsp:nvSpPr>
        <dsp:cNvPr id="0" name=""/>
        <dsp:cNvSpPr/>
      </dsp:nvSpPr>
      <dsp:spPr>
        <a:xfrm>
          <a:off x="5869329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How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6138668" y="56652"/>
        <a:ext cx="808017" cy="538678"/>
      </dsp:txXfrm>
    </dsp:sp>
    <dsp:sp modelId="{124996E3-18A0-40C5-A8C3-F871998D91BE}">
      <dsp:nvSpPr>
        <dsp:cNvPr id="0" name=""/>
        <dsp:cNvSpPr/>
      </dsp:nvSpPr>
      <dsp:spPr>
        <a:xfrm>
          <a:off x="7027487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Context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7296826" y="56652"/>
        <a:ext cx="808017" cy="538678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 (Stand Technik, Theorie)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3 (Problem </a:t>
          </a:r>
          <a:r>
            <a:rPr lang="de-DE" sz="600" kern="1200" dirty="0" err="1"/>
            <a:t>statement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Precise</a:t>
          </a:r>
          <a:r>
            <a:rPr lang="de-DE" sz="700" kern="1200" dirty="0"/>
            <a:t> </a:t>
          </a:r>
          <a:r>
            <a:rPr lang="de-DE" sz="700" kern="1200" dirty="0" err="1"/>
            <a:t>detection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malfunctions</a:t>
          </a:r>
          <a:r>
            <a:rPr lang="de-DE" sz="700" kern="1200" dirty="0"/>
            <a:t> and </a:t>
          </a:r>
          <a:r>
            <a:rPr lang="de-DE" sz="700" kern="1200" dirty="0" err="1"/>
            <a:t>perturbances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Reporting </a:t>
          </a:r>
          <a:r>
            <a:rPr lang="de-DE" sz="700" kern="1200" dirty="0" err="1"/>
            <a:t>tool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displays</a:t>
          </a:r>
          <a:r>
            <a:rPr lang="de-DE" sz="700" kern="1200" dirty="0"/>
            <a:t> relevant </a:t>
          </a:r>
          <a:r>
            <a:rPr lang="de-DE" sz="700" kern="1200" dirty="0" err="1"/>
            <a:t>info</a:t>
          </a:r>
          <a:r>
            <a:rPr lang="de-DE" sz="700" kern="1200" dirty="0"/>
            <a:t> and </a:t>
          </a:r>
          <a:r>
            <a:rPr lang="de-DE" sz="700" kern="1200" dirty="0" err="1"/>
            <a:t>generates</a:t>
          </a:r>
          <a:r>
            <a:rPr lang="de-DE" sz="700" kern="1200" dirty="0"/>
            <a:t> </a:t>
          </a:r>
          <a:r>
            <a:rPr lang="de-DE" sz="700" kern="1200" dirty="0" err="1"/>
            <a:t>metrics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88F8DB6A-BAC0-4205-AF9B-AC35A6DB9946}">
      <dsp:nvSpPr>
        <dsp:cNvPr id="0" name=""/>
        <dsp:cNvSpPr/>
      </dsp:nvSpPr>
      <dsp:spPr>
        <a:xfrm>
          <a:off x="4711171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lug and </a:t>
          </a:r>
          <a:r>
            <a:rPr lang="de-DE" sz="700" kern="1200" dirty="0" err="1"/>
            <a:t>play</a:t>
          </a:r>
          <a:r>
            <a:rPr lang="de-DE" sz="700" kern="1200" dirty="0"/>
            <a:t> </a:t>
          </a:r>
          <a:r>
            <a:rPr lang="de-DE" sz="700" kern="1200" dirty="0" err="1"/>
            <a:t>philosophy</a:t>
          </a:r>
          <a:endParaRPr lang="en-US" sz="700" kern="1200" dirty="0"/>
        </a:p>
      </dsp:txBody>
      <dsp:txXfrm>
        <a:off x="4980510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799902" y="1178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Element</a:t>
          </a:r>
        </a:p>
      </dsp:txBody>
      <dsp:txXfrm>
        <a:off x="3819202" y="20478"/>
        <a:ext cx="949804" cy="620336"/>
      </dsp:txXfrm>
    </dsp:sp>
    <dsp:sp modelId="{53DA0C7F-A410-4F3A-A551-31BB8CEAAF35}">
      <dsp:nvSpPr>
        <dsp:cNvPr id="0" name=""/>
        <dsp:cNvSpPr/>
      </dsp:nvSpPr>
      <dsp:spPr>
        <a:xfrm>
          <a:off x="3651642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3157439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176739" y="942989"/>
        <a:ext cx="949804" cy="620336"/>
      </dsp:txXfrm>
    </dsp:sp>
    <dsp:sp modelId="{3A24F69E-B741-44C0-8D91-D2BC5A280F65}">
      <dsp:nvSpPr>
        <dsp:cNvPr id="0" name=""/>
        <dsp:cNvSpPr/>
      </dsp:nvSpPr>
      <dsp:spPr>
        <a:xfrm>
          <a:off x="4294105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442366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4461666" y="942989"/>
        <a:ext cx="949804" cy="620336"/>
      </dsp:txXfrm>
    </dsp:sp>
    <dsp:sp modelId="{77247B8C-193F-484A-9C50-F6144B69E6D6}">
      <dsp:nvSpPr>
        <dsp:cNvPr id="0" name=""/>
        <dsp:cNvSpPr/>
      </dsp:nvSpPr>
      <dsp:spPr>
        <a:xfrm>
          <a:off x="3651642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1284926" y="0"/>
              </a:moveTo>
              <a:lnTo>
                <a:pt x="1284926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D5B6DC-A7E8-4CF0-A361-8EB48FF52EE5}">
      <dsp:nvSpPr>
        <dsp:cNvPr id="0" name=""/>
        <dsp:cNvSpPr/>
      </dsp:nvSpPr>
      <dsp:spPr>
        <a:xfrm>
          <a:off x="3157439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</a:t>
          </a:r>
        </a:p>
      </dsp:txBody>
      <dsp:txXfrm>
        <a:off x="3176739" y="1865500"/>
        <a:ext cx="949804" cy="620336"/>
      </dsp:txXfrm>
    </dsp:sp>
    <dsp:sp modelId="{8BE9DD71-CFF1-44DC-9DA7-B0907FE20530}">
      <dsp:nvSpPr>
        <dsp:cNvPr id="0" name=""/>
        <dsp:cNvSpPr/>
      </dsp:nvSpPr>
      <dsp:spPr>
        <a:xfrm>
          <a:off x="3009179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333E1-22FF-4D9A-B494-BD3BDE501598}">
      <dsp:nvSpPr>
        <dsp:cNvPr id="0" name=""/>
        <dsp:cNvSpPr/>
      </dsp:nvSpPr>
      <dsp:spPr>
        <a:xfrm>
          <a:off x="2514976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Reference</a:t>
          </a:r>
        </a:p>
      </dsp:txBody>
      <dsp:txXfrm>
        <a:off x="2534276" y="2788011"/>
        <a:ext cx="949804" cy="620336"/>
      </dsp:txXfrm>
    </dsp:sp>
    <dsp:sp modelId="{4D1DCB21-D674-4BC0-9B75-E7E0FAFD2ED2}">
      <dsp:nvSpPr>
        <dsp:cNvPr id="0" name=""/>
        <dsp:cNvSpPr/>
      </dsp:nvSpPr>
      <dsp:spPr>
        <a:xfrm>
          <a:off x="3651642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E2F77-49F4-4DE3-8D51-CDAF84551E61}">
      <dsp:nvSpPr>
        <dsp:cNvPr id="0" name=""/>
        <dsp:cNvSpPr/>
      </dsp:nvSpPr>
      <dsp:spPr>
        <a:xfrm>
          <a:off x="3799902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819202" y="2788011"/>
        <a:ext cx="949804" cy="620336"/>
      </dsp:txXfrm>
    </dsp:sp>
    <dsp:sp modelId="{218FDDD4-1E68-4754-86AD-5CFD7F43C0C6}">
      <dsp:nvSpPr>
        <dsp:cNvPr id="0" name=""/>
        <dsp:cNvSpPr/>
      </dsp:nvSpPr>
      <dsp:spPr>
        <a:xfrm>
          <a:off x="4936568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1284926" y="131787"/>
              </a:lnTo>
              <a:lnTo>
                <a:pt x="1284926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1A214-8010-41A8-A2AC-1F575E448A95}">
      <dsp:nvSpPr>
        <dsp:cNvPr id="0" name=""/>
        <dsp:cNvSpPr/>
      </dsp:nvSpPr>
      <dsp:spPr>
        <a:xfrm>
          <a:off x="5727292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omponent</a:t>
          </a:r>
          <a:endParaRPr lang="de-DE" sz="1200" kern="1200" dirty="0"/>
        </a:p>
      </dsp:txBody>
      <dsp:txXfrm>
        <a:off x="5746592" y="1865500"/>
        <a:ext cx="949804" cy="620336"/>
      </dsp:txXfrm>
    </dsp:sp>
    <dsp:sp modelId="{FEC44A9A-21C9-4606-8051-78C812299206}">
      <dsp:nvSpPr>
        <dsp:cNvPr id="0" name=""/>
        <dsp:cNvSpPr/>
      </dsp:nvSpPr>
      <dsp:spPr>
        <a:xfrm>
          <a:off x="5579031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0904D-9E76-4B81-B1F5-A9E14E2B453C}">
      <dsp:nvSpPr>
        <dsp:cNvPr id="0" name=""/>
        <dsp:cNvSpPr/>
      </dsp:nvSpPr>
      <dsp:spPr>
        <a:xfrm>
          <a:off x="5084829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5104129" y="2788011"/>
        <a:ext cx="949804" cy="620336"/>
      </dsp:txXfrm>
    </dsp:sp>
    <dsp:sp modelId="{6F91ACC4-26DE-449A-AFEC-5682DA880D48}">
      <dsp:nvSpPr>
        <dsp:cNvPr id="0" name=""/>
        <dsp:cNvSpPr/>
      </dsp:nvSpPr>
      <dsp:spPr>
        <a:xfrm>
          <a:off x="6221494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4127C2-2487-4A15-8713-339DCE036467}">
      <dsp:nvSpPr>
        <dsp:cNvPr id="0" name=""/>
        <dsp:cNvSpPr/>
      </dsp:nvSpPr>
      <dsp:spPr>
        <a:xfrm>
          <a:off x="6369755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6389055" y="2788011"/>
        <a:ext cx="949804" cy="620336"/>
      </dsp:txXfrm>
    </dsp:sp>
    <dsp:sp modelId="{563A516D-AEF8-4506-9C6E-50A5505BE890}">
      <dsp:nvSpPr>
        <dsp:cNvPr id="0" name=""/>
        <dsp:cNvSpPr/>
      </dsp:nvSpPr>
      <dsp:spPr>
        <a:xfrm>
          <a:off x="6221494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D5F001-92E7-4072-85AC-07E59887CB15}">
      <dsp:nvSpPr>
        <dsp:cNvPr id="0" name=""/>
        <dsp:cNvSpPr/>
      </dsp:nvSpPr>
      <dsp:spPr>
        <a:xfrm>
          <a:off x="5727292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5746592" y="3710523"/>
        <a:ext cx="949804" cy="620336"/>
      </dsp:txXfrm>
    </dsp:sp>
    <dsp:sp modelId="{2B52B1C9-E455-4241-9CB1-5CD51BB25F65}">
      <dsp:nvSpPr>
        <dsp:cNvPr id="0" name=""/>
        <dsp:cNvSpPr/>
      </dsp:nvSpPr>
      <dsp:spPr>
        <a:xfrm>
          <a:off x="6863957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E44B-F2B7-42C8-892D-C15058943036}">
      <dsp:nvSpPr>
        <dsp:cNvPr id="0" name=""/>
        <dsp:cNvSpPr/>
      </dsp:nvSpPr>
      <dsp:spPr>
        <a:xfrm>
          <a:off x="7012218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2</a:t>
          </a:r>
        </a:p>
      </dsp:txBody>
      <dsp:txXfrm>
        <a:off x="7031518" y="3710523"/>
        <a:ext cx="949804" cy="6203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60529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587553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0</Words>
  <Application>Microsoft Office PowerPoint</Application>
  <PresentationFormat>Breitbild</PresentationFormat>
  <Paragraphs>187</Paragraphs>
  <Slides>9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Theory</vt:lpstr>
      <vt:lpstr>Problem Stat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34</cp:revision>
  <cp:lastPrinted>2023-04-11T11:20:00Z</cp:lastPrinted>
  <dcterms:created xsi:type="dcterms:W3CDTF">2023-02-27T05:53:01Z</dcterms:created>
  <dcterms:modified xsi:type="dcterms:W3CDTF">2023-05-23T04:42:15Z</dcterms:modified>
</cp:coreProperties>
</file>